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4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35-4C80-B28F-59115C4E3C1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35-4C80-B28F-59115C4E3C1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235-4C80-B28F-59115C4E3C1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235-4C80-B28F-59115C4E3C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BFAF5F-8DEE-3B17-07F4-46E1CBC79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0942FB-C7FD-A2BA-8AAD-9583A933AB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942FB-C7FD-A2BA-8AAD-9583A933A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C5685D47-C808-54F6-9C01-8C141A144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oughnut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2A827B2-C3B2-6666-9CCF-CE87D7B17D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2A7398F9-C38B-EEEB-6AA1-115353EEF9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DCA6A7A-8AD8-A47F-004B-1B57BEB415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32">
            <a:extLst>
              <a:ext uri="{FF2B5EF4-FFF2-40B4-BE49-F238E27FC236}">
                <a16:creationId xmlns:a16="http://schemas.microsoft.com/office/drawing/2014/main" id="{598C73B6-A272-279A-CA7E-B595B1261FEC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232016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4</TotalTime>
  <Words>14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Doughnut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60</cp:revision>
  <dcterms:created xsi:type="dcterms:W3CDTF">2025-07-09T10:57:17Z</dcterms:created>
  <dcterms:modified xsi:type="dcterms:W3CDTF">2025-10-22T09:49:11Z</dcterms:modified>
  <cp:category/>
</cp:coreProperties>
</file>